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22496463" cy="6858000"/>
  <p:notesSz cx="6858000" cy="9144000"/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50" d="100"/>
          <a:sy n="50" d="100"/>
        </p:scale>
        <p:origin x="38" y="14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6223B1-B620-17B5-2833-5EC874036C0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6396554-BF86-FED1-BA05-5F33F524653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39C1BB-19C4-4301-9F8C-D24B31D18C46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B121B3-29EF-D37C-9ACF-EC95962A2C8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35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45734E-BAF9-61FC-03A3-8403743DFFC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3AAC62-BBF7-4B01-B867-D16B54FCE49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19743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4292D0-2BBA-4418-AB2B-A6DD4499182B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1631950" y="1143000"/>
            <a:ext cx="101219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3500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27DEC2-A2DA-4425-AB87-ADD119AEF61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6120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7DEC2-A2DA-4425-AB87-ADD119AEF61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18359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7275" y="75600"/>
            <a:ext cx="21821026" cy="76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67274" y="6605844"/>
            <a:ext cx="6864078" cy="126000"/>
          </a:xfrm>
        </p:spPr>
        <p:txBody>
          <a:bodyPr/>
          <a:lstStyle/>
          <a:p>
            <a:fld id="{B3ACEAF6-8764-4E69-9276-4FB3D5FB625F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4845886" y="6605844"/>
            <a:ext cx="6377656" cy="126000"/>
          </a:xfrm>
        </p:spPr>
        <p:txBody>
          <a:bodyPr/>
          <a:lstStyle/>
          <a:p>
            <a:r>
              <a:rPr lang="de-DE"/>
              <a:t>PowerPoint-1067×3500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1543565" y="6590168"/>
            <a:ext cx="644735" cy="151200"/>
          </a:xfrm>
        </p:spPr>
        <p:txBody>
          <a:bodyPr/>
          <a:lstStyle/>
          <a:p>
            <a:fld id="{60160448-F83D-43F3-AF2D-7C308E9F61BA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7274" y="914400"/>
            <a:ext cx="18369159" cy="352800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lang="de-DE" sz="1200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3pPr>
            <a:lvl4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4pPr>
            <a:lvl5pPr>
              <a:spcBef>
                <a:spcPts val="288"/>
              </a:spcBef>
              <a:spcAft>
                <a:spcPts val="0"/>
              </a:spcAft>
              <a:defRPr lang="de-DE">
                <a:solidFill>
                  <a:schemeClr val="tx1"/>
                </a:solidFill>
              </a:defRPr>
            </a:lvl5pPr>
            <a:lvl6pPr>
              <a:spcBef>
                <a:spcPts val="288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6pPr>
            <a:lvl7pPr>
              <a:spcBef>
                <a:spcPts val="288"/>
              </a:spcBef>
              <a:defRPr>
                <a:solidFill>
                  <a:schemeClr val="tx1"/>
                </a:solidFill>
              </a:defRPr>
            </a:lvl7pPr>
            <a:lvl8pPr>
              <a:spcBef>
                <a:spcPts val="288"/>
              </a:spcBef>
              <a:defRPr>
                <a:solidFill>
                  <a:schemeClr val="tx1"/>
                </a:solidFill>
              </a:defRPr>
            </a:lvl8pPr>
            <a:lvl9pPr>
              <a:spcBef>
                <a:spcPts val="288"/>
              </a:spcBef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</p:spTree>
    <p:extLst>
      <p:ext uri="{BB962C8B-B14F-4D97-AF65-F5344CB8AC3E}">
        <p14:creationId xmlns:p14="http://schemas.microsoft.com/office/powerpoint/2010/main" val="2466857285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D170EA-F647-6276-10CE-EA5AFBDA22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DA8D00-D402-9FBD-22C6-13A90E452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CEAF6-8764-4E69-9276-4FB3D5FB625F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005B28-F021-A34A-0CAB-56D63A1FBC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-1067×35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1FB682-E106-8639-D75B-EE03EC95C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60448-F83D-43F3-AF2D-7C308E9F61B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70299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367274" y="6605844"/>
            <a:ext cx="6864078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500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fld id="{B3ACEAF6-8764-4E69-9276-4FB3D5FB625F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845886" y="6605844"/>
            <a:ext cx="6377656" cy="126000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>
              <a:defRPr lang="de-DE" sz="500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PowerPoint-1067×3500.pptx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67275" y="75600"/>
            <a:ext cx="21821026" cy="763200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367274" y="914400"/>
            <a:ext cx="18369159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21543565" y="6590168"/>
            <a:ext cx="644735" cy="151200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60160448-F83D-43F3-AF2D-7C308E9F61BA}" type="slidenum">
              <a:rPr lang="de-DE" smtClean="0"/>
              <a:t>‹#›</a:t>
            </a:fld>
            <a:endParaRPr lang="de-DE"/>
          </a:p>
        </p:txBody>
      </p:sp>
      <p:sp>
        <p:nvSpPr>
          <p:cNvPr id="24" name="OT_FootnoteSource" hidden="1"/>
          <p:cNvSpPr txBox="1"/>
          <p:nvPr>
            <p:custDataLst>
              <p:tags r:id="rId9"/>
            </p:custDataLst>
          </p:nvPr>
        </p:nvSpPr>
        <p:spPr>
          <a:xfrm>
            <a:off x="151838" y="6165304"/>
            <a:ext cx="11095541" cy="21544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539750" marR="0" lvl="0" indent="-539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46088" algn="r"/>
                <a:tab pos="539750" algn="l"/>
              </a:tabLst>
              <a:defRPr/>
            </a:pPr>
            <a:r>
              <a:rPr lang="de-DE" sz="800" dirty="0">
                <a:latin typeface="+mn-lt"/>
                <a:cs typeface="Calibri" pitchFamily="34" charset="0"/>
              </a:rPr>
              <a:t>	Source:	SourceFootnote</a:t>
            </a:r>
          </a:p>
        </p:txBody>
      </p:sp>
    </p:spTree>
    <p:extLst>
      <p:ext uri="{BB962C8B-B14F-4D97-AF65-F5344CB8AC3E}">
        <p14:creationId xmlns:p14="http://schemas.microsoft.com/office/powerpoint/2010/main" val="4052386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ransition>
    <p:wipe dir="r"/>
  </p:transition>
  <p:txStyles>
    <p:titleStyle>
      <a:lvl1pPr algn="l" defTabSz="914400" rtl="0" eaLnBrk="1" latinLnBrk="0" hangingPunct="1">
        <a:spcBef>
          <a:spcPct val="0"/>
        </a:spcBef>
        <a:buNone/>
        <a:defRPr lang="de-DE" sz="1800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200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200" kern="1200">
          <a:solidFill>
            <a:schemeClr val="tx1"/>
          </a:solidFill>
          <a:latin typeface="+mj-lt"/>
          <a:ea typeface="+mn-ea"/>
          <a:cs typeface="+mn-cs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355600" indent="-173038" algn="l" defTabSz="914400" rtl="0" eaLnBrk="1" latinLnBrk="0" hangingPunct="1">
        <a:spcBef>
          <a:spcPts val="288"/>
        </a:spcBef>
        <a:buFont typeface="Arial" pitchFamily="34" charset="0"/>
        <a:buChar char="–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495300" indent="-139700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628650" indent="-123825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779463" indent="-147638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903288" indent="-119063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031875" indent="-127000" algn="l" defTabSz="914400" rtl="0" eaLnBrk="1" latinLnBrk="0" hangingPunct="1">
        <a:spcBef>
          <a:spcPts val="288"/>
        </a:spcBef>
        <a:buFont typeface="Arial" pitchFamily="34" charset="0"/>
        <a:buChar char="-"/>
        <a:tabLst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65D984-9723-070A-00F4-03D211FB7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843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sjs4Cd7E2m1wgT9C73Cg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866F356B-8A12-4C5A-816D-E62F5C0FE7FD}" vid="{A5505CFF-3F7C-4777-BD21-919D7ABFA2D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ptos</vt:lpstr>
      <vt:lpstr>Arial</vt:lpstr>
      <vt:lpstr>Blan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lipchart-Service.de</dc:creator>
  <cp:lastModifiedBy>Stefan Berger</cp:lastModifiedBy>
  <cp:revision>2</cp:revision>
  <dcterms:created xsi:type="dcterms:W3CDTF">2025-08-15T17:05:04Z</dcterms:created>
  <dcterms:modified xsi:type="dcterms:W3CDTF">2025-09-01T07:47:52Z</dcterms:modified>
</cp:coreProperties>
</file>